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648" r:id="rId2"/>
    <p:sldMasterId id="2147483703" r:id="rId3"/>
    <p:sldMasterId id="2147483745" r:id="rId4"/>
    <p:sldMasterId id="2147483753" r:id="rId5"/>
    <p:sldMasterId id="2147483759" r:id="rId6"/>
  </p:sldMasterIdLst>
  <p:notesMasterIdLst>
    <p:notesMasterId r:id="rId16"/>
  </p:notesMasterIdLst>
  <p:sldIdLst>
    <p:sldId id="1074" r:id="rId7"/>
    <p:sldId id="10125" r:id="rId8"/>
    <p:sldId id="995" r:id="rId9"/>
    <p:sldId id="10126" r:id="rId10"/>
    <p:sldId id="10124" r:id="rId11"/>
    <p:sldId id="1072" r:id="rId12"/>
    <p:sldId id="10123" r:id="rId13"/>
    <p:sldId id="318" r:id="rId14"/>
    <p:sldId id="905" r:id="rId15"/>
  </p:sldIdLst>
  <p:sldSz cx="20104100" cy="11309350"/>
  <p:notesSz cx="20104100" cy="11309350"/>
  <p:custDataLst>
    <p:tags r:id="rId1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1" userDrawn="1">
          <p15:clr>
            <a:srgbClr val="A4A3A4"/>
          </p15:clr>
        </p15:guide>
        <p15:guide id="2" pos="7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925812-B4D6-7C7D-2CD4-5DBFA9CBB10A}" name="Karin Maingourd" initials="KM" userId="S::karin.maingourd@regionvastmanland.se::36d0d03f-2fba-4afa-b896-bf220c3d899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gin Vedad" initials="NV" lastIdx="1" clrIdx="0">
    <p:extLst>
      <p:ext uri="{19B8F6BF-5375-455C-9EA6-DF929625EA0E}">
        <p15:presenceInfo xmlns:p15="http://schemas.microsoft.com/office/powerpoint/2012/main" userId="S::negin.vedad@regionvastmanland.se::6fad7b7e-dcd8-436b-9fe5-69296c9afa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FF99"/>
    <a:srgbClr val="9ECEC8"/>
    <a:srgbClr val="339D94"/>
    <a:srgbClr val="7ABCB4"/>
    <a:srgbClr val="DA860B"/>
    <a:srgbClr val="F5163E"/>
    <a:srgbClr val="CC00FF"/>
    <a:srgbClr val="0099FF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269D01E-BC32-4049-B463-5C60D7B0CCD2}" styleName="Format med tema 2 - dekorfärg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40" autoAdjust="0"/>
    <p:restoredTop sz="93792" autoAdjust="0"/>
  </p:normalViewPr>
  <p:slideViewPr>
    <p:cSldViewPr>
      <p:cViewPr varScale="1">
        <p:scale>
          <a:sx n="40" d="100"/>
          <a:sy n="40" d="100"/>
        </p:scale>
        <p:origin x="656" y="48"/>
      </p:cViewPr>
      <p:guideLst>
        <p:guide orient="horz" pos="931"/>
        <p:guide pos="707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68" d="100"/>
          <a:sy n="68" d="100"/>
        </p:scale>
        <p:origin x="4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1EA50A-7ED8-4297-A6D8-C39D2C596180}" type="datetimeFigureOut">
              <a:rPr lang="sv-SE" smtClean="0"/>
              <a:t>2024-12-1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DB10-64AD-4478-BAF2-10592BD0BA8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7310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1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3DB10-64AD-4478-BAF2-10592BD0BA82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640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rgbClr val="FA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Bildobjekt 112">
            <a:extLst>
              <a:ext uri="{FF2B5EF4-FFF2-40B4-BE49-F238E27FC236}">
                <a16:creationId xmlns:a16="http://schemas.microsoft.com/office/drawing/2014/main" id="{213F865A-82E0-4DE6-BBD6-DA7B3D8F00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8" r="6671" b="4223"/>
          <a:stretch/>
        </p:blipFill>
        <p:spPr>
          <a:xfrm>
            <a:off x="10814050" y="-1"/>
            <a:ext cx="9290050" cy="113093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57016142-5590-4F09-AF8B-DB6FD618E5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D27A8EE4-92AA-495F-86F9-6A5C4BD31B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115" name="object 38">
            <a:extLst>
              <a:ext uri="{FF2B5EF4-FFF2-40B4-BE49-F238E27FC236}">
                <a16:creationId xmlns:a16="http://schemas.microsoft.com/office/drawing/2014/main" id="{9BDBBCB9-81A0-4B48-8D85-87FE05F29E71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21304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0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0" y="2491200"/>
            <a:ext cx="17618400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5363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9050" y="6264274"/>
            <a:ext cx="1260000" cy="5045075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3-21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51974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6264274"/>
            <a:ext cx="1247156" cy="5045075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F15F43-7351-4340-AB7C-1EB441B903A0}" type="datetime1">
              <a:rPr lang="sv-SE" smtClean="0"/>
              <a:t>2024-12-19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2925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D5FBC21F-AA3A-4105-A762-7A4A8EE1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64" b="4216"/>
          <a:stretch/>
        </p:blipFill>
        <p:spPr>
          <a:xfrm>
            <a:off x="10814401" y="0"/>
            <a:ext cx="9289700" cy="11309350"/>
          </a:xfrm>
          <a:prstGeom prst="rect">
            <a:avLst/>
          </a:prstGeom>
        </p:spPr>
      </p:pic>
      <p:sp>
        <p:nvSpPr>
          <p:cNvPr id="7" name="object 38">
            <a:extLst>
              <a:ext uri="{FF2B5EF4-FFF2-40B4-BE49-F238E27FC236}">
                <a16:creationId xmlns:a16="http://schemas.microsoft.com/office/drawing/2014/main" id="{58F464F6-1029-4CBD-B3D1-11214085E2B8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03BB08C3-1CD7-4C53-9E96-43671982CE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78CC841C-AA65-43FA-BB0E-1A120EBFE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58731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6EBC20DB-E92A-4595-958F-8F6E1877F2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2" name="Platshållare för sidfot 4">
            <a:extLst>
              <a:ext uri="{FF2B5EF4-FFF2-40B4-BE49-F238E27FC236}">
                <a16:creationId xmlns:a16="http://schemas.microsoft.com/office/drawing/2014/main" id="{5382FAD0-A98D-43B4-B432-3582AE5A5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4000" cy="18720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id="{50F28032-0600-4C8E-B007-13E1C8110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55FC54DA-D224-4D4F-9D60-B924CADB6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7" b="40999"/>
          <a:stretch/>
        </p:blipFill>
        <p:spPr>
          <a:xfrm>
            <a:off x="19008000" y="0"/>
            <a:ext cx="1096100" cy="3216275"/>
          </a:xfrm>
          <a:prstGeom prst="rect">
            <a:avLst/>
          </a:prstGeom>
        </p:spPr>
      </p:pic>
      <p:sp>
        <p:nvSpPr>
          <p:cNvPr id="15" name="Platshållare för text 10">
            <a:extLst>
              <a:ext uri="{FF2B5EF4-FFF2-40B4-BE49-F238E27FC236}">
                <a16:creationId xmlns:a16="http://schemas.microsoft.com/office/drawing/2014/main" id="{36B6AA50-8739-41DE-A23A-5E3ECC5482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5600" y="3399671"/>
            <a:ext cx="17618075" cy="5983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F4246BC-36B1-4971-8889-F163FD2A0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777625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9050" y="6264274"/>
            <a:ext cx="1260000" cy="5045075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423725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88FBE5C1-E706-49C0-BC48-7432DD5937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4" name="object 38">
            <a:extLst>
              <a:ext uri="{FF2B5EF4-FFF2-40B4-BE49-F238E27FC236}">
                <a16:creationId xmlns:a16="http://schemas.microsoft.com/office/drawing/2014/main" id="{1A5E282F-FC28-45E5-81A7-A28557C59E47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F19CC616-6A81-4F3E-BF5F-34271257EE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0D26B19-8998-4002-9818-0406EEBB00B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0D7DA48-029C-41BC-BD3D-A195A10DF3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1345448-A017-46A4-AAEE-65BAAA13935B}"/>
              </a:ext>
            </a:extLst>
          </p:cNvPr>
          <p:cNvSpPr/>
          <p:nvPr userDrawn="1"/>
        </p:nvSpPr>
        <p:spPr>
          <a:xfrm>
            <a:off x="10404000" y="702000"/>
            <a:ext cx="9007200" cy="9907200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61A0B5-3A30-4187-8CDB-DBD6610369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0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5" name="Platshållare för text 2">
            <a:extLst>
              <a:ext uri="{FF2B5EF4-FFF2-40B4-BE49-F238E27FC236}">
                <a16:creationId xmlns:a16="http://schemas.microsoft.com/office/drawing/2014/main" id="{3DEFBAF8-794C-4460-BDFB-4AFAF7A4B3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4" cy="540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9" name="Rubrik 7">
            <a:extLst>
              <a:ext uri="{FF2B5EF4-FFF2-40B4-BE49-F238E27FC236}">
                <a16:creationId xmlns:a16="http://schemas.microsoft.com/office/drawing/2014/main" id="{6A68B911-846D-40C0-89C1-092024565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94721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7EC5BF2F-A06E-4DBE-BE34-10563FBAB941}"/>
              </a:ext>
            </a:extLst>
          </p:cNvPr>
          <p:cNvSpPr/>
          <p:nvPr userDrawn="1"/>
        </p:nvSpPr>
        <p:spPr>
          <a:xfrm>
            <a:off x="1245600" y="2491200"/>
            <a:ext cx="17618400" cy="7923600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6D3E448-F04D-42F2-A71F-AB7E9594DF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pic>
        <p:nvPicPr>
          <p:cNvPr id="19" name="Bildobjekt 18">
            <a:extLst>
              <a:ext uri="{FF2B5EF4-FFF2-40B4-BE49-F238E27FC236}">
                <a16:creationId xmlns:a16="http://schemas.microsoft.com/office/drawing/2014/main" id="{1F92EFCA-73A8-4BBA-8B6E-84A516257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66" r="88987" b="40999"/>
          <a:stretch/>
        </p:blipFill>
        <p:spPr>
          <a:xfrm>
            <a:off x="19008000" y="0"/>
            <a:ext cx="1096100" cy="2393950"/>
          </a:xfrm>
          <a:prstGeom prst="rect">
            <a:avLst/>
          </a:prstGeom>
        </p:spPr>
      </p:pic>
      <p:sp>
        <p:nvSpPr>
          <p:cNvPr id="21" name="Rubrik 12">
            <a:extLst>
              <a:ext uri="{FF2B5EF4-FFF2-40B4-BE49-F238E27FC236}">
                <a16:creationId xmlns:a16="http://schemas.microsoft.com/office/drawing/2014/main" id="{56F830A9-B7E5-4459-9325-1EB46228A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5DB120C-DE3F-4D0F-9C20-C0178B697A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09B9E0E-3BE5-4815-9771-B94D5C0DE4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EF21FC5-B1ED-41D6-83B6-FD9D859FF9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605CF9C-A296-49D6-8F7C-7E99496CBA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70029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8" userDrawn="1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3565262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94226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E90990-52D6-401D-B150-7B54C6580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2F10B09-3181-4055-A46D-459923080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14280DC-5966-49BD-AB8E-60113DB56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0409115-4960-4246-9D14-439564AD9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14FA10E6-DC00-4A4C-A2EE-A3F53C17D5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60" r="88999" b="40995"/>
          <a:stretch/>
        </p:blipFill>
        <p:spPr>
          <a:xfrm>
            <a:off x="19009056" y="1"/>
            <a:ext cx="1095044" cy="3216274"/>
          </a:xfrm>
          <a:prstGeom prst="rect">
            <a:avLst/>
          </a:prstGeom>
        </p:spPr>
      </p:pic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7A2CC002-8FB6-40A7-A6F3-C046623D47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43766" y="3399671"/>
            <a:ext cx="17616566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743160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08612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206017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00255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2767432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70085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207405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83921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350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8617885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50309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6264274"/>
            <a:ext cx="1247156" cy="5045075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2538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731446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142965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5445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Bildobjekt 105">
            <a:extLst>
              <a:ext uri="{FF2B5EF4-FFF2-40B4-BE49-F238E27FC236}">
                <a16:creationId xmlns:a16="http://schemas.microsoft.com/office/drawing/2014/main" id="{BEF2884E-1FD5-4C14-8812-60610C2A3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46" t="64200" r="1"/>
          <a:stretch/>
        </p:blipFill>
        <p:spPr>
          <a:xfrm>
            <a:off x="0" y="0"/>
            <a:ext cx="6240627" cy="979488"/>
          </a:xfrm>
          <a:prstGeom prst="rect">
            <a:avLst/>
          </a:prstGeom>
        </p:spPr>
      </p:pic>
      <p:sp>
        <p:nvSpPr>
          <p:cNvPr id="15" name="object 38">
            <a:extLst>
              <a:ext uri="{FF2B5EF4-FFF2-40B4-BE49-F238E27FC236}">
                <a16:creationId xmlns:a16="http://schemas.microsoft.com/office/drawing/2014/main" id="{FCB10ADE-7E5E-400B-8AA1-BCE8B82F9AC2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69B40A8-44D8-445B-8C02-75F7336F6216}"/>
              </a:ext>
            </a:extLst>
          </p:cNvPr>
          <p:cNvSpPr/>
          <p:nvPr userDrawn="1"/>
        </p:nvSpPr>
        <p:spPr>
          <a:xfrm>
            <a:off x="10404000" y="702000"/>
            <a:ext cx="9000000" cy="9900000"/>
          </a:xfrm>
          <a:prstGeom prst="rect">
            <a:avLst/>
          </a:prstGeom>
          <a:solidFill>
            <a:srgbClr val="FA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29954143-B55D-450D-940A-BB896C139D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1676"/>
            <a:ext cx="9000000" cy="99000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F05E6BAC-F8CD-4D8F-BF33-F04A9C43E4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3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07" name="Rubrik 106">
            <a:extLst>
              <a:ext uri="{FF2B5EF4-FFF2-40B4-BE49-F238E27FC236}">
                <a16:creationId xmlns:a16="http://schemas.microsoft.com/office/drawing/2014/main" id="{6CA9850E-4638-497B-BFB1-76C714BE1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425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solidFill>
            <a:srgbClr val="FAEDF2"/>
          </a:solidFill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959AE0B8-EF77-4FED-9065-2B19EFE2C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8" r="88999" b="40995"/>
          <a:stretch/>
        </p:blipFill>
        <p:spPr>
          <a:xfrm>
            <a:off x="19009056" y="0"/>
            <a:ext cx="1095044" cy="2395474"/>
          </a:xfrm>
          <a:prstGeom prst="rect">
            <a:avLst/>
          </a:prstGeom>
        </p:spPr>
      </p:pic>
      <p:sp>
        <p:nvSpPr>
          <p:cNvPr id="14" name="Platshållare för text 6">
            <a:extLst>
              <a:ext uri="{FF2B5EF4-FFF2-40B4-BE49-F238E27FC236}">
                <a16:creationId xmlns:a16="http://schemas.microsoft.com/office/drawing/2014/main" id="{4EB1276E-26FE-4592-99D9-92C82CD707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239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14857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0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6" y="3399671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0240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0" y="6264276"/>
            <a:ext cx="1238643" cy="504507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5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57901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4000" cy="187200"/>
          </a:xfrm>
        </p:spPr>
        <p:txBody>
          <a:bodyPr/>
          <a:lstStyle/>
          <a:p>
            <a:endParaRPr lang="sv-SE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0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0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4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871591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  <p15:guide id="2" pos="6332" userDrawn="1">
          <p15:clr>
            <a:srgbClr val="FBAE40"/>
          </p15:clr>
        </p15:guide>
        <p15:guide id="3" pos="24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5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6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A90D26-33BA-4A56-8160-7202727430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5025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noProof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 noProof="0"/>
              <a:t>2021-10-06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noProof="0" smtClean="0"/>
              <a:pPr/>
              <a:t>‹#›</a:t>
            </a:fld>
            <a:endParaRPr lang="sv-SE" noProof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noProof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3209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2" r:id="rId2"/>
    <p:sldLayoutId id="2147483735" r:id="rId3"/>
    <p:sldLayoutId id="2147483738" r:id="rId4"/>
    <p:sldLayoutId id="2147483741" r:id="rId5"/>
  </p:sldLayoutIdLst>
  <p:hf sldNum="0" hdr="0"/>
  <p:txStyles>
    <p:titleStyle>
      <a:lvl1pPr eaLnBrk="1" hangingPunct="1"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 eaLnBrk="1" hangingPunct="1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50" spc="-110" baseline="0">
          <a:latin typeface="+mn-lt"/>
          <a:ea typeface="+mn-ea"/>
          <a:cs typeface="+mn-cs"/>
        </a:defRPr>
      </a:lvl1pPr>
      <a:lvl2pPr marL="756000" indent="-324000" eaLnBrk="1" hangingPunct="1">
        <a:lnSpc>
          <a:spcPct val="84000"/>
        </a:lnSpc>
        <a:spcAft>
          <a:spcPts val="2400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6000" indent="-288000" eaLnBrk="1" hangingPunct="1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8000" indent="-259200" eaLnBrk="1" hangingPunct="1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4000" indent="-252000" eaLnBrk="1" hangingPunct="1">
        <a:lnSpc>
          <a:spcPct val="86000"/>
        </a:lnSpc>
        <a:spcAft>
          <a:spcPts val="1500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5E1A61-1436-4C4C-A6D3-4F6C3B9B2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80239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8" r:id="rId2"/>
    <p:sldLayoutId id="2147483681" r:id="rId3"/>
    <p:sldLayoutId id="2147483685" r:id="rId4"/>
    <p:sldLayoutId id="2147483701" r:id="rId5"/>
    <p:sldLayoutId id="2147483765" r:id="rId6"/>
    <p:sldLayoutId id="2147483766" r:id="rId7"/>
  </p:sldLayoutIdLst>
  <p:hf sldNum="0" hdr="0"/>
  <p:txStyles>
    <p:titleStyle>
      <a:lvl1pPr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>
        <a:lnSpc>
          <a:spcPct val="84000"/>
        </a:lnSpc>
        <a:spcAft>
          <a:spcPts val="2300"/>
        </a:spcAft>
        <a:buSzPct val="100000"/>
        <a:buFontTx/>
        <a:buBlip>
          <a:blip r:embed="rId13"/>
        </a:buBlip>
        <a:tabLst/>
        <a:defRPr sz="4250" spc="-110" baseline="0">
          <a:latin typeface="+mn-lt"/>
          <a:ea typeface="+mn-ea"/>
          <a:cs typeface="+mn-cs"/>
        </a:defRPr>
      </a:lvl1pPr>
      <a:lvl2pPr marL="756000" indent="-324000">
        <a:lnSpc>
          <a:spcPct val="84000"/>
        </a:lnSpc>
        <a:spcAft>
          <a:spcPts val="2400"/>
        </a:spcAft>
        <a:buFontTx/>
        <a:buBlip>
          <a:blip r:embed="rId13"/>
        </a:buBlip>
        <a:defRPr sz="3850" spc="-110" baseline="0">
          <a:latin typeface="+mn-lt"/>
          <a:ea typeface="+mn-ea"/>
          <a:cs typeface="+mn-cs"/>
        </a:defRPr>
      </a:lvl2pPr>
      <a:lvl3pPr marL="1116000" indent="-288000">
        <a:lnSpc>
          <a:spcPct val="84000"/>
        </a:lnSpc>
        <a:spcAft>
          <a:spcPts val="2500"/>
        </a:spcAft>
        <a:buFontTx/>
        <a:buBlip>
          <a:blip r:embed="rId13"/>
        </a:buBlip>
        <a:defRPr sz="3400" spc="-110" baseline="0">
          <a:latin typeface="+mn-lt"/>
          <a:ea typeface="+mn-ea"/>
          <a:cs typeface="+mn-cs"/>
        </a:defRPr>
      </a:lvl3pPr>
      <a:lvl4pPr marL="1458000" indent="-259200">
        <a:lnSpc>
          <a:spcPct val="84000"/>
        </a:lnSpc>
        <a:spcAft>
          <a:spcPts val="2600"/>
        </a:spcAft>
        <a:buFontTx/>
        <a:buBlip>
          <a:blip r:embed="rId13"/>
        </a:buBlip>
        <a:defRPr sz="3000" spc="-110" baseline="0">
          <a:latin typeface="+mn-lt"/>
          <a:ea typeface="+mn-ea"/>
          <a:cs typeface="+mn-cs"/>
        </a:defRPr>
      </a:lvl4pPr>
      <a:lvl5pPr marL="1764000" indent="-252000">
        <a:lnSpc>
          <a:spcPct val="86000"/>
        </a:lnSpc>
        <a:spcAft>
          <a:spcPts val="1500"/>
        </a:spcAft>
        <a:buFontTx/>
        <a:buBlip>
          <a:blip r:embed="rId13"/>
        </a:buBlip>
        <a:defRPr sz="2800" spc="-110" baseline="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E413B2D-4104-416B-9828-B0AF3BE84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842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A5BA178A-7D73-4B39-A47A-E9668CC0B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2000"/>
            <a:ext cx="17618400" cy="598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97878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7" r:id="rId2"/>
    <p:sldLayoutId id="2147483710" r:id="rId3"/>
    <p:sldLayoutId id="2147483713" r:id="rId4"/>
    <p:sldLayoutId id="2147483716" r:id="rId5"/>
  </p:sldLayoutIdLst>
  <p:hf sldNum="0" hdr="0"/>
  <p:txStyles>
    <p:titleStyle>
      <a:lvl1pPr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lang="sv-SE" sz="4250" spc="-110" baseline="0" dirty="0" smtClean="0">
          <a:latin typeface="+mn-lt"/>
          <a:ea typeface="+mn-ea"/>
          <a:cs typeface="+mn-cs"/>
        </a:defRPr>
      </a:lvl1pPr>
      <a:lvl2pPr marL="756000" indent="-324000">
        <a:lnSpc>
          <a:spcPct val="84000"/>
        </a:lnSpc>
        <a:spcAft>
          <a:spcPts val="2400"/>
        </a:spcAft>
        <a:buFontTx/>
        <a:buBlip>
          <a:blip r:embed="rId11"/>
        </a:buBlip>
        <a:defRPr lang="sv-SE" sz="3850" spc="-110" baseline="0" dirty="0" smtClean="0">
          <a:latin typeface="+mn-lt"/>
          <a:ea typeface="+mn-ea"/>
          <a:cs typeface="+mn-cs"/>
        </a:defRPr>
      </a:lvl2pPr>
      <a:lvl3pPr marL="1116000" indent="-288000">
        <a:lnSpc>
          <a:spcPct val="84000"/>
        </a:lnSpc>
        <a:spcAft>
          <a:spcPts val="2500"/>
        </a:spcAft>
        <a:buFontTx/>
        <a:buBlip>
          <a:blip r:embed="rId11"/>
        </a:buBlip>
        <a:defRPr lang="sv-SE" sz="3400" spc="-110" baseline="0" dirty="0" smtClean="0">
          <a:latin typeface="+mn-lt"/>
          <a:ea typeface="+mn-ea"/>
          <a:cs typeface="+mn-cs"/>
        </a:defRPr>
      </a:lvl3pPr>
      <a:lvl4pPr marL="1458000" indent="-259200">
        <a:lnSpc>
          <a:spcPct val="84000"/>
        </a:lnSpc>
        <a:spcAft>
          <a:spcPts val="2600"/>
        </a:spcAft>
        <a:buFontTx/>
        <a:buBlip>
          <a:blip r:embed="rId11"/>
        </a:buBlip>
        <a:defRPr lang="sv-SE" sz="3000" spc="-110" baseline="0" dirty="0" smtClean="0">
          <a:latin typeface="+mn-lt"/>
          <a:ea typeface="+mn-ea"/>
          <a:cs typeface="+mn-cs"/>
        </a:defRPr>
      </a:lvl4pPr>
      <a:lvl5pPr marL="1764000" indent="-252000">
        <a:lnSpc>
          <a:spcPct val="86000"/>
        </a:lnSpc>
        <a:spcAft>
          <a:spcPts val="1500"/>
        </a:spcAft>
        <a:buFontTx/>
        <a:buBlip>
          <a:blip r:embed="rId11"/>
        </a:buBlip>
        <a:defRPr lang="sv-SE" sz="2800" spc="-110" baseline="0" dirty="0" smtClean="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3DF9D4-4166-4227-B5FA-411C458EB3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3820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1946040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367C4-A4DE-44E3-A6E9-4B3A55087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252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29239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567F9F-6508-454A-8802-5D7313CD98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16746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3093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gionvastmanland.se/arbeten" TargetMode="External"/><Relationship Id="rId2" Type="http://schemas.openxmlformats.org/officeDocument/2006/relationships/hyperlink" Target="mailto:nytt.akutsjukhus@regionvastmanland.se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hyperlink" Target="http://www.regionvastmanland.se/akutsjukhusetvastera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7E0C29AE-B300-10AB-257B-4BCBC6C295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2378075"/>
            <a:ext cx="13635037" cy="4500736"/>
          </a:xfrm>
        </p:spPr>
        <p:txBody>
          <a:bodyPr>
            <a:normAutofit/>
          </a:bodyPr>
          <a:lstStyle/>
          <a:p>
            <a:br>
              <a:rPr lang="sv-SE" sz="9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9600" dirty="0">
                <a:solidFill>
                  <a:schemeClr val="accent1">
                    <a:lumMod val="75000"/>
                  </a:schemeClr>
                </a:solidFill>
              </a:rPr>
              <a:t>APT-kit - Kvartal 4, 2024</a:t>
            </a:r>
            <a:br>
              <a:rPr lang="sv-SE" sz="9600" dirty="0">
                <a:solidFill>
                  <a:schemeClr val="accent1">
                    <a:lumMod val="75000"/>
                  </a:schemeClr>
                </a:solidFill>
              </a:rPr>
            </a:br>
            <a:endParaRPr lang="sv-SE" sz="7000" dirty="0"/>
          </a:p>
        </p:txBody>
      </p:sp>
      <p:sp>
        <p:nvSpPr>
          <p:cNvPr id="2" name="Underrubrik 1">
            <a:extLst>
              <a:ext uri="{FF2B5EF4-FFF2-40B4-BE49-F238E27FC236}">
                <a16:creationId xmlns:a16="http://schemas.microsoft.com/office/drawing/2014/main" id="{2C27266D-3864-0A2A-AABD-D9FE366FC6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sz="4800" dirty="0">
                <a:solidFill>
                  <a:schemeClr val="accent1">
                    <a:lumMod val="75000"/>
                  </a:schemeClr>
                </a:solidFill>
              </a:rPr>
              <a:t>Region Västmanlands nya akutsjukhus i Västerå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30208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 descr="En bild som visar utomhus, himmel, träd, moln&#10;&#10;Automatiskt genererad beskrivning">
            <a:extLst>
              <a:ext uri="{FF2B5EF4-FFF2-40B4-BE49-F238E27FC236}">
                <a16:creationId xmlns:a16="http://schemas.microsoft.com/office/drawing/2014/main" id="{77C59586-F7A0-60B0-4148-00DACE5EDAE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075" y="3393936"/>
            <a:ext cx="8639175" cy="5075515"/>
          </a:xfrm>
        </p:spPr>
      </p:pic>
      <p:sp>
        <p:nvSpPr>
          <p:cNvPr id="11" name="Rubrik 10">
            <a:extLst>
              <a:ext uri="{FF2B5EF4-FFF2-40B4-BE49-F238E27FC236}">
                <a16:creationId xmlns:a16="http://schemas.microsoft.com/office/drawing/2014/main" id="{33D4FBA5-6DBB-232C-4024-D974D3C56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572217"/>
            <a:ext cx="17616567" cy="2043642"/>
          </a:xfrm>
        </p:spPr>
        <p:txBody>
          <a:bodyPr/>
          <a:lstStyle/>
          <a:p>
            <a:r>
              <a:rPr lang="sv-SE" dirty="0"/>
              <a:t>Ny tidplan – Det nya akutsjukhuset öppnar 2029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1292D1E-EFCC-D49D-097D-CB060541C8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70514" y="2918371"/>
            <a:ext cx="8598137" cy="7056784"/>
          </a:xfrm>
        </p:spPr>
        <p:txBody>
          <a:bodyPr>
            <a:noAutofit/>
          </a:bodyPr>
          <a:lstStyle/>
          <a:p>
            <a:r>
              <a:rPr lang="sv-SE" sz="4200" dirty="0"/>
              <a:t>Årets stora nyhet var att vi kommer öppna det nya akutsjukhuset lite tidigare än planerat. Det är möjligt genom strukturerat och noggrant arbete från alla inblandade. </a:t>
            </a:r>
          </a:p>
          <a:p>
            <a:r>
              <a:rPr lang="sv-SE" sz="4200" dirty="0"/>
              <a:t>Planeringen är nu att det nya akutsjukhuset kan öppna under våren 2029. Det medför att alla verksamheter som ska flytta in i de nya lokalerna påbörjat eller inom kort kommer att påbörja planeringen för att flytta in och börja jobba där. </a:t>
            </a:r>
          </a:p>
        </p:txBody>
      </p:sp>
    </p:spTree>
    <p:extLst>
      <p:ext uri="{BB962C8B-B14F-4D97-AF65-F5344CB8AC3E}">
        <p14:creationId xmlns:p14="http://schemas.microsoft.com/office/powerpoint/2010/main" val="2799415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1808EEF3-7938-8ED1-298E-3E31AF03AEF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algn="l"/>
            <a:r>
              <a:rPr lang="sv-SE" sz="4200" b="0" i="0" dirty="0">
                <a:solidFill>
                  <a:srgbClr val="000000"/>
                </a:solidFill>
                <a:effectLst/>
              </a:rPr>
              <a:t>Produktion pågår enligt plan. </a:t>
            </a:r>
          </a:p>
          <a:p>
            <a:pPr algn="l"/>
            <a:r>
              <a:rPr lang="sv-SE" sz="4200" b="0" i="0" dirty="0">
                <a:solidFill>
                  <a:srgbClr val="000000"/>
                </a:solidFill>
                <a:effectLst/>
              </a:rPr>
              <a:t>Stommontage pågår nu för alla husdelar.</a:t>
            </a:r>
          </a:p>
          <a:p>
            <a:pPr algn="l"/>
            <a:r>
              <a:rPr lang="sv-SE" sz="4200" b="0" i="0" dirty="0">
                <a:solidFill>
                  <a:srgbClr val="000000"/>
                </a:solidFill>
                <a:effectLst/>
              </a:rPr>
              <a:t>Fasadmontage hus 86-87 inlett. </a:t>
            </a:r>
          </a:p>
          <a:p>
            <a:pPr algn="l"/>
            <a:r>
              <a:rPr lang="sv-SE" sz="4200" b="0" i="0" dirty="0">
                <a:solidFill>
                  <a:srgbClr val="000000"/>
                </a:solidFill>
                <a:effectLst/>
              </a:rPr>
              <a:t>Tätt hus planeras till Q4 2025.</a:t>
            </a:r>
          </a:p>
          <a:p>
            <a:pPr algn="l"/>
            <a:r>
              <a:rPr lang="sv-SE" sz="4200" b="0" i="0" dirty="0">
                <a:solidFill>
                  <a:srgbClr val="000000"/>
                </a:solidFill>
                <a:effectLst/>
              </a:rPr>
              <a:t>Stomkompletteringsarbetet är inlett.</a:t>
            </a:r>
          </a:p>
          <a:p>
            <a:pPr algn="l"/>
            <a:endParaRPr lang="sv-SE" sz="4200" b="0" i="0" dirty="0">
              <a:solidFill>
                <a:srgbClr val="000000"/>
              </a:solidFill>
              <a:effectLst/>
            </a:endParaRPr>
          </a:p>
          <a:p>
            <a:pPr algn="l"/>
            <a:endParaRPr lang="sv-SE" sz="4200" b="0" i="0" dirty="0">
              <a:solidFill>
                <a:srgbClr val="000000"/>
              </a:solidFill>
              <a:effectLst/>
            </a:endParaRPr>
          </a:p>
          <a:p>
            <a:endParaRPr lang="sv-SE" sz="4200" b="0" baseline="0" dirty="0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sv-SE" sz="4200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79C2EE0A-B618-4001-E7BF-0F829B372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7000" dirty="0"/>
              <a:t>Projekt Vårdbyggnad			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74AB8A0-F76D-0358-583D-664B96FEBD26}"/>
              </a:ext>
            </a:extLst>
          </p:cNvPr>
          <p:cNvSpPr txBox="1"/>
          <p:nvPr/>
        </p:nvSpPr>
        <p:spPr>
          <a:xfrm>
            <a:off x="474986" y="10479211"/>
            <a:ext cx="1067909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500" b="1" dirty="0"/>
              <a:t>Bild från 7 oktober 2024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D5DBE93B-7A05-AE86-6C50-B4D86BCA896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11" name="Platshållare för innehåll 9" descr="En bild som visar utomhus, byggnad, himmel, mark&#10;&#10;Automatiskt genererad beskrivning">
            <a:extLst>
              <a:ext uri="{FF2B5EF4-FFF2-40B4-BE49-F238E27FC236}">
                <a16:creationId xmlns:a16="http://schemas.microsoft.com/office/drawing/2014/main" id="{FA96F817-97FC-BA5F-CE67-110F1191D9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4" r="11009"/>
          <a:stretch/>
        </p:blipFill>
        <p:spPr>
          <a:xfrm>
            <a:off x="9475986" y="1227047"/>
            <a:ext cx="8638421" cy="95015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0810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D5F1CDCE-0D87-E5FD-2502-EA967E9BE23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sz="4200" dirty="0"/>
              <a:t>Verksamhetsutveckling </a:t>
            </a:r>
          </a:p>
          <a:p>
            <a:pPr lvl="1"/>
            <a:r>
              <a:rPr lang="sv-SE" sz="4200" dirty="0"/>
              <a:t> </a:t>
            </a:r>
            <a:r>
              <a:rPr lang="sv-SE" sz="4200" dirty="0" err="1"/>
              <a:t>Avemballering</a:t>
            </a:r>
            <a:r>
              <a:rPr lang="sv-SE" sz="4200" dirty="0"/>
              <a:t> - Pågår </a:t>
            </a:r>
          </a:p>
          <a:p>
            <a:r>
              <a:rPr lang="sv-SE" sz="4200" dirty="0"/>
              <a:t> Försörjningsbyggnad  - Programarbetet startar Q1 2025.</a:t>
            </a:r>
          </a:p>
          <a:p>
            <a:pPr algn="l" rtl="0"/>
            <a:r>
              <a:rPr lang="sv-SE" sz="4200" dirty="0">
                <a:solidFill>
                  <a:srgbClr val="000000"/>
                </a:solidFill>
              </a:rPr>
              <a:t>Arbetet med d</a:t>
            </a:r>
            <a:r>
              <a:rPr lang="sv-SE" sz="4200" b="0" i="0" dirty="0">
                <a:solidFill>
                  <a:srgbClr val="000000"/>
                </a:solidFill>
                <a:effectLst/>
              </a:rPr>
              <a:t>riftsättningsplaner är inlett i några verksamheter.</a:t>
            </a:r>
          </a:p>
          <a:p>
            <a:endParaRPr lang="sv-SE" sz="4200" dirty="0"/>
          </a:p>
          <a:p>
            <a:endParaRPr lang="sv-SE" sz="4200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2178ADE1-F465-AAC5-F288-1B3CB0C41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ojekt verksamhetsstöd		Projekt vårdverksamhe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464B903-4083-49CA-8E02-24A74040602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sv-SE" sz="4200" b="0" dirty="0">
                <a:solidFill>
                  <a:srgbClr val="000000"/>
                </a:solidFill>
                <a:effectLst/>
              </a:rPr>
              <a:t>Arbetet med allokering av vårdstödjande ytor pågår</a:t>
            </a:r>
            <a:r>
              <a:rPr lang="sv-SE" sz="4200" b="0" i="1" dirty="0">
                <a:solidFill>
                  <a:srgbClr val="000000"/>
                </a:solidFill>
                <a:effectLst/>
              </a:rPr>
              <a:t>. </a:t>
            </a:r>
          </a:p>
          <a:p>
            <a:r>
              <a:rPr lang="sv-SE" sz="4200" dirty="0"/>
              <a:t>Nu ökar fokus på den kliniska driftsättningen i planeringsarbetet.</a:t>
            </a:r>
          </a:p>
          <a:p>
            <a:r>
              <a:rPr lang="sv-SE" sz="4200" dirty="0"/>
              <a:t>Verksamhetsutveckling pågår i flera vårdverksamheter.</a:t>
            </a:r>
          </a:p>
          <a:p>
            <a:r>
              <a:rPr lang="sv-SE" sz="4200" dirty="0"/>
              <a:t>Virtuella visningar av de nya lokalerna pågår av flera vårdverksamheter.</a:t>
            </a:r>
          </a:p>
          <a:p>
            <a:endParaRPr lang="sv-SE" sz="4200" dirty="0"/>
          </a:p>
          <a:p>
            <a:endParaRPr lang="sv-SE" sz="4200" dirty="0"/>
          </a:p>
          <a:p>
            <a:endParaRPr lang="sv-SE" sz="4200" dirty="0"/>
          </a:p>
          <a:p>
            <a:endParaRPr lang="sv-SE" sz="4200" dirty="0"/>
          </a:p>
        </p:txBody>
      </p:sp>
    </p:spTree>
    <p:extLst>
      <p:ext uri="{BB962C8B-B14F-4D97-AF65-F5344CB8AC3E}">
        <p14:creationId xmlns:p14="http://schemas.microsoft.com/office/powerpoint/2010/main" val="2362184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9EF60882-03D0-7F6B-ED12-6477948EF47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sv-SE" sz="4200" b="1" i="0" dirty="0">
                <a:solidFill>
                  <a:srgbClr val="000000"/>
                </a:solidFill>
                <a:effectLst/>
              </a:rPr>
              <a:t>Konst</a:t>
            </a:r>
            <a:r>
              <a:rPr lang="sv-SE" sz="4200" b="0" i="0" dirty="0">
                <a:solidFill>
                  <a:srgbClr val="000000"/>
                </a:solidFill>
                <a:effectLst/>
              </a:rPr>
              <a:t>: Projektet som ansvarar för konsten i de nya lokalerna har haft en upphandling av konst för de invändiga stora ytorna där fast konst kan placeras. Det arbetet kommer kunna beskrivas och presenteras ytterligare under våren 2025. </a:t>
            </a:r>
          </a:p>
          <a:p>
            <a:r>
              <a:rPr lang="sv-SE" sz="4200" b="1" dirty="0">
                <a:solidFill>
                  <a:srgbClr val="000000"/>
                </a:solidFill>
              </a:rPr>
              <a:t>Utrustning</a:t>
            </a:r>
            <a:r>
              <a:rPr lang="sv-SE" sz="4200" dirty="0">
                <a:solidFill>
                  <a:srgbClr val="000000"/>
                </a:solidFill>
              </a:rPr>
              <a:t>: Projektet som jobbar med utrustning har haft en intensiv period med upphandlingar under året. </a:t>
            </a:r>
            <a:endParaRPr lang="sv-SE" sz="4200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F609E860-5904-A87C-CE27-05B1F198A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ojekten konst, utrustning och kommande etapper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90DDABA2-81B8-D210-D8A1-8A060182920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r>
              <a:rPr lang="sv-SE" sz="4200" dirty="0">
                <a:solidFill>
                  <a:srgbClr val="000000"/>
                </a:solidFill>
              </a:rPr>
              <a:t>Detta för att säkerställa att utrustning som ska köpas in hinner tillverkas och levereras i rätt tid. Samplanering sker för ordinarie inköp av utrustning inför flytten till de nya lokalerna.</a:t>
            </a:r>
          </a:p>
          <a:p>
            <a:r>
              <a:rPr lang="sv-SE" sz="4200" b="1" dirty="0">
                <a:solidFill>
                  <a:srgbClr val="000000"/>
                </a:solidFill>
              </a:rPr>
              <a:t>Kommande etapper</a:t>
            </a:r>
            <a:r>
              <a:rPr lang="sv-SE" sz="4200" dirty="0">
                <a:solidFill>
                  <a:srgbClr val="000000"/>
                </a:solidFill>
              </a:rPr>
              <a:t>: planeringen pågår av etapp 2, som är en byggnad för bland annat strålterapi, onkologi och diagnostik som planeras byggas intill det nya akutsjukhuset. Beslut om igångsättande planeras till juni 2025.</a:t>
            </a:r>
            <a:endParaRPr lang="sv-SE" sz="4200" dirty="0"/>
          </a:p>
        </p:txBody>
      </p:sp>
    </p:spTree>
    <p:extLst>
      <p:ext uri="{BB962C8B-B14F-4D97-AF65-F5344CB8AC3E}">
        <p14:creationId xmlns:p14="http://schemas.microsoft.com/office/powerpoint/2010/main" val="23046434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54BACC4F-C6EE-7EC5-0ED7-C5E554DF803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Arbetet med att bygga kulverten under Adelsögatan fortsätter enligt plan. Kulverten ska ansluta nya akutsjukhuset med försörjningsbyggnaden </a:t>
            </a:r>
          </a:p>
          <a:p>
            <a:r>
              <a:rPr lang="sv-SE" dirty="0"/>
              <a:t>Aktuell karta och info om pågående arbeten finns alltid på webben: www.regionvastmanland.se/arbeten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A7869D1B-9214-D8A4-B167-A3FD7C04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beredande arbeten fortsätter på sjukhusområdet</a:t>
            </a:r>
          </a:p>
        </p:txBody>
      </p:sp>
      <p:pic>
        <p:nvPicPr>
          <p:cNvPr id="10" name="Platshållare för innehåll 9">
            <a:extLst>
              <a:ext uri="{FF2B5EF4-FFF2-40B4-BE49-F238E27FC236}">
                <a16:creationId xmlns:a16="http://schemas.microsoft.com/office/drawing/2014/main" id="{B2CC8271-9042-863B-09CC-CD146E48F1E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0221916" y="3406774"/>
            <a:ext cx="7151810" cy="7544347"/>
          </a:xfrm>
        </p:spPr>
      </p:pic>
    </p:spTree>
    <p:extLst>
      <p:ext uri="{BB962C8B-B14F-4D97-AF65-F5344CB8AC3E}">
        <p14:creationId xmlns:p14="http://schemas.microsoft.com/office/powerpoint/2010/main" val="1813556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3528630-6368-4835-8FF8-E42C0A07A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53528630-6368-4835-8FF8-E42C0A07A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ubrik 2">
            <a:extLst>
              <a:ext uri="{FF2B5EF4-FFF2-40B4-BE49-F238E27FC236}">
                <a16:creationId xmlns:a16="http://schemas.microsoft.com/office/drawing/2014/main" id="{297267C0-A84D-4DA2-AEC6-561A015B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rmAutofit/>
          </a:bodyPr>
          <a:lstStyle/>
          <a:p>
            <a:r>
              <a:rPr lang="sv-SE" sz="5400" dirty="0"/>
              <a:t>Skiss på hur den nya vårdbyggnaden förväntas se ut v 50. 2024 </a:t>
            </a:r>
            <a:r>
              <a:rPr kumimoji="0" lang="sv-SE" sz="5400" b="1" i="0" u="none" strike="noStrike" kern="0" cap="none" spc="-280" normalizeH="0" baseline="0" noProof="0" dirty="0">
                <a:ln>
                  <a:noFill/>
                </a:ln>
                <a:solidFill>
                  <a:srgbClr val="3C82A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(prognos)</a:t>
            </a:r>
            <a:endParaRPr lang="sv-SE" sz="5400"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AA1227C0-DBC1-49F4-A751-EB3CFCF414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43562" y="422771"/>
            <a:ext cx="722004" cy="104090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FAAC2EFC-D2D5-91F1-C122-A9DE2BC41227}"/>
              </a:ext>
            </a:extLst>
          </p:cNvPr>
          <p:cNvSpPr txBox="1"/>
          <p:nvPr/>
        </p:nvSpPr>
        <p:spPr>
          <a:xfrm>
            <a:off x="8748185" y="80496"/>
            <a:ext cx="1951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ppdaterad 2024-02-19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6C30A97E-754D-639A-E46B-31C68F5F12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1370" y="2486323"/>
            <a:ext cx="14041560" cy="8420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130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74935C89-E53F-38E0-850A-9D6BD86434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sv-SE"/>
            </a:defPPr>
            <a:lvl1pPr marL="0" algn="r" defTabSz="914400" rtl="0" eaLnBrk="1" latinLnBrk="0" hangingPunct="1">
              <a:defRPr sz="72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57">
              <a:spcAft>
                <a:spcPts val="600"/>
              </a:spcAft>
            </a:pPr>
            <a:fld id="{B6F15528-21DE-4FAA-801E-634DDDAF4B2B}" type="slidenum">
              <a:rPr lang="sv-SE" smtClean="0"/>
              <a:pPr/>
              <a:t>8</a:t>
            </a:fld>
            <a:endParaRPr lang="sv-SE">
              <a:solidFill>
                <a:prstClr val="black">
                  <a:tint val="75000"/>
                </a:prstClr>
              </a:solidFill>
              <a:latin typeface="Calibri Light"/>
            </a:endParaRPr>
          </a:p>
        </p:txBody>
      </p:sp>
      <p:pic>
        <p:nvPicPr>
          <p:cNvPr id="8" name="Platshållare för innehåll 7">
            <a:extLst>
              <a:ext uri="{FF2B5EF4-FFF2-40B4-BE49-F238E27FC236}">
                <a16:creationId xmlns:a16="http://schemas.microsoft.com/office/drawing/2014/main" id="{6ED74A4C-E98A-0E5C-BD69-174DB468C3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 r="-2" b="10355"/>
          <a:stretch/>
        </p:blipFill>
        <p:spPr>
          <a:xfrm>
            <a:off x="10403975" y="702348"/>
            <a:ext cx="9006568" cy="9906505"/>
          </a:xfrm>
          <a:noFill/>
        </p:spPr>
      </p:pic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DD277F98-B6C8-EB2E-B5CE-96176B1126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4386" y="3408305"/>
            <a:ext cx="7828184" cy="7718594"/>
          </a:xfrm>
        </p:spPr>
        <p:txBody>
          <a:bodyPr>
            <a:normAutofit/>
          </a:bodyPr>
          <a:lstStyle/>
          <a:p>
            <a:r>
              <a:rPr lang="sv-SE" sz="4000" dirty="0"/>
              <a:t>Sara Gyldberg, </a:t>
            </a:r>
            <a:r>
              <a:rPr lang="sv-SE" sz="4000" dirty="0">
                <a:ea typeface="Calibri" panose="020F0502020204030204" pitchFamily="34" charset="0"/>
              </a:rPr>
              <a:t>Kommunikatör,  Centrum för kommunikation.</a:t>
            </a:r>
          </a:p>
          <a:p>
            <a:r>
              <a:rPr lang="sv-SE" sz="4000" dirty="0">
                <a:ea typeface="Calibri" panose="020F0502020204030204" pitchFamily="34" charset="0"/>
              </a:rPr>
              <a:t>Kommunikatör i regionen sedan 2020.</a:t>
            </a:r>
          </a:p>
          <a:p>
            <a:r>
              <a:rPr lang="sv-SE" sz="4000" dirty="0">
                <a:ea typeface="Calibri" panose="020F0502020204030204" pitchFamily="34" charset="0"/>
              </a:rPr>
              <a:t>Utveckla och förvalta regionens webbplatser.</a:t>
            </a:r>
          </a:p>
          <a:p>
            <a:r>
              <a:rPr lang="sv-SE" sz="4000" dirty="0">
                <a:ea typeface="Calibri" panose="020F0502020204030204" pitchFamily="34" charset="0"/>
              </a:rPr>
              <a:t>Pressfrågor.</a:t>
            </a:r>
          </a:p>
          <a:p>
            <a:r>
              <a:rPr lang="sv-SE" sz="4000" dirty="0">
                <a:ea typeface="Calibri" panose="020F0502020204030204" pitchFamily="34" charset="0"/>
              </a:rPr>
              <a:t>Medverkar i den interna utbildningen ”Att vara talesperson i media”. </a:t>
            </a:r>
          </a:p>
          <a:p>
            <a:endParaRPr lang="sv-SE" sz="4000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ACDD87CD-7DC2-BD67-1D24-B532C14F2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4386" y="1227359"/>
            <a:ext cx="7828184" cy="2043498"/>
          </a:xfrm>
        </p:spPr>
        <p:txBody>
          <a:bodyPr anchor="b">
            <a:normAutofit/>
          </a:bodyPr>
          <a:lstStyle/>
          <a:p>
            <a:r>
              <a:rPr lang="sv-SE" dirty="0"/>
              <a:t>Ny kommunikatör från januari 2025</a:t>
            </a:r>
          </a:p>
        </p:txBody>
      </p:sp>
    </p:spTree>
    <p:extLst>
      <p:ext uri="{BB962C8B-B14F-4D97-AF65-F5344CB8AC3E}">
        <p14:creationId xmlns:p14="http://schemas.microsoft.com/office/powerpoint/2010/main" val="2778200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B440B839-3DE8-463C-8ACD-C0B4249D9A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3500" dirty="0"/>
              <a:t>Veckomöten om kommande arbeten på sjukhusområdet äger rum måndagar </a:t>
            </a:r>
            <a:br>
              <a:rPr lang="sv-SE" sz="3500" dirty="0"/>
            </a:br>
            <a:r>
              <a:rPr lang="sv-SE" sz="3500" dirty="0"/>
              <a:t>kl. 12.45-13.00. Alla berörda verksamheter är välkomna att medverka. Kontakta oss om du vill bli inbjuden: </a:t>
            </a:r>
            <a:r>
              <a:rPr lang="sv-SE" sz="3500" dirty="0">
                <a:hlinkClick r:id="rId2"/>
              </a:rPr>
              <a:t>nytt.akutsjukhus@regionvastmanland.se</a:t>
            </a:r>
            <a:endParaRPr lang="sv-SE" sz="3500" dirty="0"/>
          </a:p>
          <a:p>
            <a:pPr marL="0" indent="0">
              <a:buNone/>
            </a:pPr>
            <a:r>
              <a:rPr lang="sv-SE" sz="3500" dirty="0"/>
              <a:t>Pågående och planerade arbeten samt aktuell karta:</a:t>
            </a:r>
            <a:br>
              <a:rPr lang="sv-SE" sz="3500" dirty="0"/>
            </a:br>
            <a:r>
              <a:rPr lang="sv-SE" sz="3500" dirty="0">
                <a:hlinkClick r:id="rId3"/>
              </a:rPr>
              <a:t>www.regionvastmanland.se/arbeten</a:t>
            </a:r>
            <a:endParaRPr lang="sv-SE" sz="3500" dirty="0"/>
          </a:p>
          <a:p>
            <a:pPr marL="0" indent="0">
              <a:buNone/>
            </a:pPr>
            <a:r>
              <a:rPr lang="sv-SE" sz="3500" dirty="0"/>
              <a:t>Följ oss gärna på Linkedin! (sök: Region Västmanland)</a:t>
            </a:r>
          </a:p>
          <a:p>
            <a:pPr marL="0" indent="0">
              <a:buNone/>
            </a:pPr>
            <a:r>
              <a:rPr lang="sv-SE" sz="3500" dirty="0"/>
              <a:t>Vill du läsa mer om nya akutsjukhuset, följa oss via webbkameran och anmäla dig till nyhetsbrevet: </a:t>
            </a:r>
            <a:r>
              <a:rPr lang="sv-SE" sz="3500" dirty="0">
                <a:hlinkClick r:id="rId4"/>
              </a:rPr>
              <a:t>www.regionvastmanland.se/akutsjukhusetvasteras</a:t>
            </a:r>
            <a:endParaRPr lang="sv-SE" sz="3500" dirty="0"/>
          </a:p>
          <a:p>
            <a:pPr marL="0" indent="0">
              <a:buNone/>
            </a:pPr>
            <a:endParaRPr lang="sv-SE" sz="3500" dirty="0"/>
          </a:p>
        </p:txBody>
      </p:sp>
      <p:sp>
        <p:nvSpPr>
          <p:cNvPr id="6" name="Rubrik 2">
            <a:extLst>
              <a:ext uri="{FF2B5EF4-FFF2-40B4-BE49-F238E27FC236}">
                <a16:creationId xmlns:a16="http://schemas.microsoft.com/office/drawing/2014/main" id="{A75171E0-99F2-4F24-AA44-46FBED854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</p:spPr>
        <p:txBody>
          <a:bodyPr anchor="b">
            <a:normAutofit/>
          </a:bodyPr>
          <a:lstStyle/>
          <a:p>
            <a:r>
              <a:rPr lang="sv-SE" dirty="0"/>
              <a:t>Kontakt och mer information</a:t>
            </a:r>
          </a:p>
        </p:txBody>
      </p:sp>
      <p:pic>
        <p:nvPicPr>
          <p:cNvPr id="8" name="Platshållare för innehåll 7" descr="En bild som visar utomhus, byggnad, fotbeklädnader, träd&#10;&#10;Automatiskt genererad beskrivning">
            <a:extLst>
              <a:ext uri="{FF2B5EF4-FFF2-40B4-BE49-F238E27FC236}">
                <a16:creationId xmlns:a16="http://schemas.microsoft.com/office/drawing/2014/main" id="{F58BFCBB-AFA6-823B-8F53-EF76E742671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8" r="4251"/>
          <a:stretch/>
        </p:blipFill>
        <p:spPr>
          <a:xfrm>
            <a:off x="10221911" y="3406775"/>
            <a:ext cx="8638421" cy="5976000"/>
          </a:xfrm>
          <a:noFill/>
        </p:spPr>
      </p:pic>
    </p:spTree>
    <p:extLst>
      <p:ext uri="{BB962C8B-B14F-4D97-AF65-F5344CB8AC3E}">
        <p14:creationId xmlns:p14="http://schemas.microsoft.com/office/powerpoint/2010/main" val="246192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5.12579511000000032084E+00&quot;&gt;&lt;m_msothmcolidx val=&quot;0&quot;/&gt;&lt;m_rgb r=&quot;F5&quot; g=&quot;16&quot; b=&quot;3E&quot;/&gt;&lt;/elem&gt;&lt;elem m_fUsage=&quot;1.00000000000000000000E+00&quot;&gt;&lt;m_msothmcolidx val=&quot;0&quot;/&gt;&lt;m_rgb r=&quot;13&quot; g=&quot;7C&quot; b=&quot;AA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Västmanland Rosa">
  <a:themeElements>
    <a:clrScheme name="Region Västmanland Ros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670F3B"/>
      </a:accent1>
      <a:accent2>
        <a:srgbClr val="4B467D"/>
      </a:accent2>
      <a:accent3>
        <a:srgbClr val="339D94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490B3DC2-1C21-4AD3-8AA8-92AD57160BB3}"/>
    </a:ext>
  </a:extLst>
</a:theme>
</file>

<file path=ppt/theme/theme2.xml><?xml version="1.0" encoding="utf-8"?>
<a:theme xmlns:a="http://schemas.openxmlformats.org/drawingml/2006/main" name="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3.xml><?xml version="1.0" encoding="utf-8"?>
<a:theme xmlns:a="http://schemas.openxmlformats.org/drawingml/2006/main" name="Region Västmanland Grön">
  <a:themeElements>
    <a:clrScheme name="Region Västmanland Grön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39D94"/>
      </a:accent1>
      <a:accent2>
        <a:srgbClr val="4B467D"/>
      </a:accent2>
      <a:accent3>
        <a:srgbClr val="670F3B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99C9B2C5-06FC-453C-BD19-6B795198C746}"/>
    </a:ext>
  </a:extLst>
</a:theme>
</file>

<file path=ppt/theme/theme4.xml><?xml version="1.0" encoding="utf-8"?>
<a:theme xmlns:a="http://schemas.openxmlformats.org/drawingml/2006/main" name="1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5.xml><?xml version="1.0" encoding="utf-8"?>
<a:theme xmlns:a="http://schemas.openxmlformats.org/drawingml/2006/main" name="2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6.xml><?xml version="1.0" encoding="utf-8"?>
<a:theme xmlns:a="http://schemas.openxmlformats.org/drawingml/2006/main" name="3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ppt/theme/themeOverride2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nnehåll baspresentation</Template>
  <TotalTime>17432</TotalTime>
  <Words>523</Words>
  <Application>Microsoft Office PowerPoint</Application>
  <PresentationFormat>Anpassad</PresentationFormat>
  <Paragraphs>48</Paragraphs>
  <Slides>9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8" baseType="lpstr">
      <vt:lpstr>Calibri</vt:lpstr>
      <vt:lpstr>Calibri Light</vt:lpstr>
      <vt:lpstr>Region Västmanland Rosa</vt:lpstr>
      <vt:lpstr>Region Västmanland Blå</vt:lpstr>
      <vt:lpstr>Region Västmanland Grön</vt:lpstr>
      <vt:lpstr>1_Region Västmanland Blå</vt:lpstr>
      <vt:lpstr>2_Region Västmanland Blå</vt:lpstr>
      <vt:lpstr>3_Region Västmanland Blå</vt:lpstr>
      <vt:lpstr>think-cell Slide</vt:lpstr>
      <vt:lpstr> APT-kit - Kvartal 4, 2024 </vt:lpstr>
      <vt:lpstr>Ny tidplan – Det nya akutsjukhuset öppnar 2029</vt:lpstr>
      <vt:lpstr>Projekt Vårdbyggnad   </vt:lpstr>
      <vt:lpstr>Projekt verksamhetsstöd  Projekt vårdverksamhet</vt:lpstr>
      <vt:lpstr>Projekten konst, utrustning och kommande etapper</vt:lpstr>
      <vt:lpstr>Förberedande arbeten fortsätter på sjukhusområdet</vt:lpstr>
      <vt:lpstr>Skiss på hur den nya vårdbyggnaden förväntas se ut v 50. 2024 (prognos)</vt:lpstr>
      <vt:lpstr>Ny kommunikatör från januari 2025</vt:lpstr>
      <vt:lpstr>Kontakt och mer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inställningar (bara för att förklara. Denna bild kan tas bort sedan)</dc:title>
  <dc:creator>Carina Sundqvist</dc:creator>
  <cp:lastModifiedBy>Carina Sundqvist</cp:lastModifiedBy>
  <cp:revision>1891</cp:revision>
  <dcterms:created xsi:type="dcterms:W3CDTF">2019-10-02T10:57:06Z</dcterms:created>
  <dcterms:modified xsi:type="dcterms:W3CDTF">2024-12-19T07:4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5-20T00:00:00Z</vt:filetime>
  </property>
  <property fmtid="{D5CDD505-2E9C-101B-9397-08002B2CF9AE}" pid="3" name="Creator">
    <vt:lpwstr>Adobe InDesign 14.0 (Macintosh)</vt:lpwstr>
  </property>
  <property fmtid="{D5CDD505-2E9C-101B-9397-08002B2CF9AE}" pid="4" name="LastSaved">
    <vt:filetime>2019-05-29T00:00:00Z</vt:filetime>
  </property>
</Properties>
</file>